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4:18.965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5:14:18.965" v="3" actId="27918"/>
        <pc:sldMkLst>
          <pc:docMk/>
          <pc:sldMk cId="3158517815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int-Go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0A21-4D01-8F59-0E62409671F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842801000000001</c:v>
                </c:pt>
                <c:pt idx="1">
                  <c:v>16.624806</c:v>
                </c:pt>
                <c:pt idx="2">
                  <c:v>14.843216999999999</c:v>
                </c:pt>
                <c:pt idx="3">
                  <c:v>16.882899999999999</c:v>
                </c:pt>
                <c:pt idx="4">
                  <c:v>17.179015</c:v>
                </c:pt>
                <c:pt idx="5">
                  <c:v>17.63063</c:v>
                </c:pt>
                <c:pt idx="6">
                  <c:v>20.640112999999999</c:v>
                </c:pt>
                <c:pt idx="7">
                  <c:v>22.394874000000002</c:v>
                </c:pt>
                <c:pt idx="8">
                  <c:v>20.828085999999999</c:v>
                </c:pt>
                <c:pt idx="9">
                  <c:v>20.607158999999999</c:v>
                </c:pt>
                <c:pt idx="10">
                  <c:v>24.154879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0A21-4D01-8F59-0E62409671F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5.303774000000001</c:v>
                </c:pt>
                <c:pt idx="1">
                  <c:v>16.884143000000002</c:v>
                </c:pt>
                <c:pt idx="2">
                  <c:v>17.496600999999998</c:v>
                </c:pt>
                <c:pt idx="3">
                  <c:v>16.113721000000002</c:v>
                </c:pt>
                <c:pt idx="4">
                  <c:v>14.807741999999999</c:v>
                </c:pt>
                <c:pt idx="5">
                  <c:v>12.384786999999999</c:v>
                </c:pt>
                <c:pt idx="6">
                  <c:v>13.208899000000001</c:v>
                </c:pt>
                <c:pt idx="7">
                  <c:v>10.993043999999999</c:v>
                </c:pt>
                <c:pt idx="8">
                  <c:v>10.898840999999999</c:v>
                </c:pt>
                <c:pt idx="9">
                  <c:v>10.427787</c:v>
                </c:pt>
                <c:pt idx="10">
                  <c:v>7.11553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2363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68184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M t nette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fic marchandises transalpin sur rail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80111541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u trafic réalisé par l’ensemble des entreprises de transport ferroviaire sur l’infrastructure des CFF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DCA0058-2C96-45CB-8258-455DA04B1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ic marchandises transalpin sur rai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ic marchandises transalpin sur rail.</dc:title>
  <dc:creator>Meyer Raphael (KOM-PGA-VSF)</dc:creator>
  <cp:lastModifiedBy>Weigel Stefan (PAR-EPS)</cp:lastModifiedBy>
  <cp:revision>60</cp:revision>
  <dcterms:created xsi:type="dcterms:W3CDTF">2020-09-30T11:00:09Z</dcterms:created>
  <dcterms:modified xsi:type="dcterms:W3CDTF">2026-03-03T13:4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